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B2CC9-B217-83DA-E9AF-1B73F8BE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D31B8A-D0C3-9B43-8C40-5D50FFDC94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EF927F-6F7E-CA82-D414-448C247F2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220AC3-C80F-96AC-D6C6-D1130AEDC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6EE825-1201-3CDD-7B1E-C7DA8A12E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5446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09018-CC83-2A4D-92BF-DC2E246C6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B2C7FF-6B0F-AD01-2941-55BB4214F5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39C3EF-DC44-7B66-6BE9-754E12929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4BD1F2-D809-458E-AC85-30C6EE52D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EC5B14-76F0-B7C9-4B18-BE0DADB01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950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6D833E-17DB-2A26-A11D-7E0346CAE9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FCA10C-31F1-D398-95BB-3CB22AD9BB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89277-D4D1-E581-9150-E8E3E6E3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E5971A-1457-DC43-8187-F59C5E39A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DE44D-942E-DBFE-8BAF-00C9A7B16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502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335A1-E8DB-F448-37E6-33BC79AB8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0338E7-6A0E-E150-2FC7-D6E9F95CD9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D7707-432B-34CF-D9FF-EA998DF61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CD8E8-0300-3EC2-E792-E53D7EDA6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939E1-7C74-14DC-7763-9A2ECCAA3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101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055C32-D808-E656-2D1A-3F009997B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321ED5-2BBA-A651-9570-48A486E1F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25258-6CAC-B899-274C-A36E90C0C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E59328-0849-8603-0A6E-C11FB7031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255AFF-DA4C-C447-BE6B-0C79A9704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25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3C0CB-425B-97D6-C3C2-A0B27528B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D740D-7B9A-28D2-A33D-0E33BEC334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5C40BD-4BAF-161B-42D7-FE0598F05D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6238C0-4C52-107A-7676-78E833BC4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B81F23-65A8-7A3F-93C4-B182F3227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4CF22A-FF86-0648-0634-1D701390C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7B4A93-201D-86B6-AA17-EBF04FD75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5CB7BD-106E-D8DA-36E5-A1C5B1ED5A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F100F-FC29-DE7D-D07A-0E3523609A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79B5EC-AF01-1602-0CA5-DB4D8DF401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141310-8BBA-F0BC-5C0D-87D7E676B2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378DC77-391E-C6D9-0D0E-F7E691088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8B9E65-7EE1-CE10-51FF-1A91F874E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AB2D87-A9CB-35BB-DD8A-62B250419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470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9D09F-04DE-882F-FE21-C5CDF9249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5F0997-712F-2050-133F-2CFB20A66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41C14E-6BE0-DEBE-BF90-024F5D7C2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390B32-8B2B-A7E0-9BF5-967B05EF0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107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907CD74-4FBD-F99D-CDDC-7D8ABAFCA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2A4BED-4134-A6E5-3550-F1FF8BA15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BE6252-D3B2-9D39-1296-D67B51B5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48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4072AB-689C-A355-C5C5-662323B34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F2950-1369-E7C6-AF48-C0C20FAB41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CF6526-6B2C-8C6A-430D-088AE96C3F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A879B7-AC52-A743-66A6-14733031D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5EF695-FCBB-335F-DEAD-9396C8DD64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6AAF0E-4040-14C7-900A-009C3A1AB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712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F700C-E330-97E6-0BE5-AC46B256C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DBEA93-C598-1B9B-7B51-6A193F605F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749294-F90D-9738-5F41-EB8D3BE80D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02226-60D9-7BBD-1466-CA309F9C4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22EE0C-6FEE-1C62-B96B-6E44BF271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05AC66-3807-9888-8A70-5B9FA9547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753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818AA99-175F-59E4-1974-C91772B9E4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3618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8C4135-F82A-5A93-551D-AAE7927E0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089C4B-9670-51A7-4C6F-ADA90D05E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928EE4-DA6E-75F6-1E6B-A0486E8D3E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796E65F-6CE6-4551-8B49-53DC60DA51CA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541AF5-D5B4-E6C3-271B-E9BDB920E9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F5DEF1-8D85-8FBB-FB9C-8BB196B38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33AC124-D84E-4568-B14F-ADDC7D0E45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93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ADDCAA-5116-4AC6-1919-6513F2B600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629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7ED2064-FC14-440D-DC5E-D2446580310F}"/>
              </a:ext>
            </a:extLst>
          </p:cNvPr>
          <p:cNvSpPr/>
          <p:nvPr/>
        </p:nvSpPr>
        <p:spPr>
          <a:xfrm>
            <a:off x="1265274" y="776175"/>
            <a:ext cx="7155712" cy="291332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F4E433D-EE6D-C8F9-75B8-39E28FBFB9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033827"/>
              </p:ext>
            </p:extLst>
          </p:nvPr>
        </p:nvGraphicFramePr>
        <p:xfrm>
          <a:off x="1473792" y="1523119"/>
          <a:ext cx="3443766" cy="141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7922">
                  <a:extLst>
                    <a:ext uri="{9D8B030D-6E8A-4147-A177-3AD203B41FA5}">
                      <a16:colId xmlns:a16="http://schemas.microsoft.com/office/drawing/2014/main" val="480128907"/>
                    </a:ext>
                  </a:extLst>
                </a:gridCol>
                <a:gridCol w="1147922">
                  <a:extLst>
                    <a:ext uri="{9D8B030D-6E8A-4147-A177-3AD203B41FA5}">
                      <a16:colId xmlns:a16="http://schemas.microsoft.com/office/drawing/2014/main" val="922124225"/>
                    </a:ext>
                  </a:extLst>
                </a:gridCol>
                <a:gridCol w="1147922">
                  <a:extLst>
                    <a:ext uri="{9D8B030D-6E8A-4147-A177-3AD203B41FA5}">
                      <a16:colId xmlns:a16="http://schemas.microsoft.com/office/drawing/2014/main" val="2407267163"/>
                    </a:ext>
                  </a:extLst>
                </a:gridCol>
              </a:tblGrid>
              <a:tr h="389677">
                <a:tc>
                  <a:txBody>
                    <a:bodyPr/>
                    <a:lstStyle/>
                    <a:p>
                      <a:r>
                        <a:rPr lang="en-US" dirty="0"/>
                        <a:t>Variable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8519801"/>
                  </a:ext>
                </a:extLst>
              </a:tr>
              <a:tr h="38967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691332"/>
                  </a:ext>
                </a:extLst>
              </a:tr>
              <a:tr h="38967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266702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921B427-F5ED-F200-7514-F2FED43E4A4E}"/>
              </a:ext>
            </a:extLst>
          </p:cNvPr>
          <p:cNvSpPr/>
          <p:nvPr/>
        </p:nvSpPr>
        <p:spPr>
          <a:xfrm>
            <a:off x="6000307" y="1430078"/>
            <a:ext cx="1733107" cy="160551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junto de </a:t>
            </a:r>
            <a:r>
              <a:rPr lang="en-US" dirty="0" err="1"/>
              <a:t>reglas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BE347-A722-16DC-8CA5-100B4C8482BA}"/>
              </a:ext>
            </a:extLst>
          </p:cNvPr>
          <p:cNvSpPr txBox="1"/>
          <p:nvPr/>
        </p:nvSpPr>
        <p:spPr>
          <a:xfrm>
            <a:off x="1552353" y="255181"/>
            <a:ext cx="4104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aradigma</a:t>
            </a:r>
            <a:r>
              <a:rPr lang="en-US" dirty="0"/>
              <a:t> </a:t>
            </a:r>
            <a:r>
              <a:rPr lang="en-US" dirty="0" err="1"/>
              <a:t>tradicional</a:t>
            </a:r>
            <a:r>
              <a:rPr lang="en-US" dirty="0"/>
              <a:t> de </a:t>
            </a:r>
            <a:r>
              <a:rPr lang="en-US" dirty="0" err="1"/>
              <a:t>programación</a:t>
            </a:r>
            <a:endParaRPr lang="en-US" dirty="0"/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35BD14AF-08A8-C7CC-35F7-C23F57E0B4A4}"/>
              </a:ext>
            </a:extLst>
          </p:cNvPr>
          <p:cNvSpPr/>
          <p:nvPr/>
        </p:nvSpPr>
        <p:spPr>
          <a:xfrm>
            <a:off x="8984512" y="624513"/>
            <a:ext cx="850604" cy="3064983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A2E96DA-AB4E-C200-081A-07473B39E7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046462"/>
              </p:ext>
            </p:extLst>
          </p:nvPr>
        </p:nvGraphicFramePr>
        <p:xfrm>
          <a:off x="10351386" y="1523119"/>
          <a:ext cx="1420037" cy="1419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037">
                  <a:extLst>
                    <a:ext uri="{9D8B030D-6E8A-4147-A177-3AD203B41FA5}">
                      <a16:colId xmlns:a16="http://schemas.microsoft.com/office/drawing/2014/main" val="2990295133"/>
                    </a:ext>
                  </a:extLst>
                </a:gridCol>
              </a:tblGrid>
              <a:tr h="47314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0606734"/>
                  </a:ext>
                </a:extLst>
              </a:tr>
              <a:tr h="47314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0414822"/>
                  </a:ext>
                </a:extLst>
              </a:tr>
              <a:tr h="47314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2995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01A1326-9ADB-E5D1-B9C7-6F7C46D89E58}"/>
              </a:ext>
            </a:extLst>
          </p:cNvPr>
          <p:cNvSpPr txBox="1"/>
          <p:nvPr/>
        </p:nvSpPr>
        <p:spPr>
          <a:xfrm>
            <a:off x="1265274" y="3934047"/>
            <a:ext cx="3211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aradigma</a:t>
            </a:r>
            <a:r>
              <a:rPr lang="en-US" dirty="0"/>
              <a:t> machine learn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19ABFA-5E38-7471-C867-6EC8EBF7CA2D}"/>
              </a:ext>
            </a:extLst>
          </p:cNvPr>
          <p:cNvSpPr/>
          <p:nvPr/>
        </p:nvSpPr>
        <p:spPr>
          <a:xfrm>
            <a:off x="1265274" y="4314166"/>
            <a:ext cx="7155712" cy="228865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8A34224-F974-DB65-0399-18B72DEC98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349061"/>
              </p:ext>
            </p:extLst>
          </p:nvPr>
        </p:nvGraphicFramePr>
        <p:xfrm>
          <a:off x="1552353" y="4662391"/>
          <a:ext cx="3443766" cy="141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7922">
                  <a:extLst>
                    <a:ext uri="{9D8B030D-6E8A-4147-A177-3AD203B41FA5}">
                      <a16:colId xmlns:a16="http://schemas.microsoft.com/office/drawing/2014/main" val="480128907"/>
                    </a:ext>
                  </a:extLst>
                </a:gridCol>
                <a:gridCol w="1147922">
                  <a:extLst>
                    <a:ext uri="{9D8B030D-6E8A-4147-A177-3AD203B41FA5}">
                      <a16:colId xmlns:a16="http://schemas.microsoft.com/office/drawing/2014/main" val="922124225"/>
                    </a:ext>
                  </a:extLst>
                </a:gridCol>
                <a:gridCol w="1147922">
                  <a:extLst>
                    <a:ext uri="{9D8B030D-6E8A-4147-A177-3AD203B41FA5}">
                      <a16:colId xmlns:a16="http://schemas.microsoft.com/office/drawing/2014/main" val="2407267163"/>
                    </a:ext>
                  </a:extLst>
                </a:gridCol>
              </a:tblGrid>
              <a:tr h="389677">
                <a:tc>
                  <a:txBody>
                    <a:bodyPr/>
                    <a:lstStyle/>
                    <a:p>
                      <a:r>
                        <a:rPr lang="en-US" dirty="0"/>
                        <a:t>Variable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riable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8519801"/>
                  </a:ext>
                </a:extLst>
              </a:tr>
              <a:tr h="38967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691332"/>
                  </a:ext>
                </a:extLst>
              </a:tr>
              <a:tr h="38967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26670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685C3EE-19AA-54F6-FFB2-180EB9F8F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166829"/>
              </p:ext>
            </p:extLst>
          </p:nvPr>
        </p:nvGraphicFramePr>
        <p:xfrm>
          <a:off x="6485864" y="4662391"/>
          <a:ext cx="1420037" cy="1312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037">
                  <a:extLst>
                    <a:ext uri="{9D8B030D-6E8A-4147-A177-3AD203B41FA5}">
                      <a16:colId xmlns:a16="http://schemas.microsoft.com/office/drawing/2014/main" val="29902951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0606734"/>
                  </a:ext>
                </a:extLst>
              </a:tr>
              <a:tr h="47314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0414822"/>
                  </a:ext>
                </a:extLst>
              </a:tr>
              <a:tr h="47314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29952"/>
                  </a:ext>
                </a:extLst>
              </a:tr>
            </a:tbl>
          </a:graphicData>
        </a:graphic>
      </p:graphicFrame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A582273-B25B-E3BD-1258-6B7EFA742DB0}"/>
              </a:ext>
            </a:extLst>
          </p:cNvPr>
          <p:cNvCxnSpPr>
            <a:cxnSpLocks/>
          </p:cNvCxnSpPr>
          <p:nvPr/>
        </p:nvCxnSpPr>
        <p:spPr>
          <a:xfrm>
            <a:off x="5251301" y="5372108"/>
            <a:ext cx="101895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1F2D2797-63B7-CFF0-1011-7F99BDE047D6}"/>
              </a:ext>
            </a:extLst>
          </p:cNvPr>
          <p:cNvSpPr/>
          <p:nvPr/>
        </p:nvSpPr>
        <p:spPr>
          <a:xfrm>
            <a:off x="9084927" y="4118713"/>
            <a:ext cx="649773" cy="2676818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E596086-21D0-F5A4-AAB6-7FD437A16365}"/>
              </a:ext>
            </a:extLst>
          </p:cNvPr>
          <p:cNvSpPr/>
          <p:nvPr/>
        </p:nvSpPr>
        <p:spPr>
          <a:xfrm>
            <a:off x="10194850" y="4662391"/>
            <a:ext cx="1733107" cy="160551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junto de </a:t>
            </a:r>
            <a:r>
              <a:rPr lang="en-US" dirty="0" err="1"/>
              <a:t>regl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460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8C25ED6-E743-A4F3-AF11-1467743A03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415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1CD7491-5CD5-900F-0592-62FEECBD9E9D}"/>
              </a:ext>
            </a:extLst>
          </p:cNvPr>
          <p:cNvSpPr/>
          <p:nvPr/>
        </p:nvSpPr>
        <p:spPr>
          <a:xfrm>
            <a:off x="404038" y="786809"/>
            <a:ext cx="1446028" cy="78680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o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6599E9-1782-923A-3515-97B839A68A7D}"/>
              </a:ext>
            </a:extLst>
          </p:cNvPr>
          <p:cNvSpPr/>
          <p:nvPr/>
        </p:nvSpPr>
        <p:spPr>
          <a:xfrm>
            <a:off x="2929269" y="563526"/>
            <a:ext cx="5794744" cy="629447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2CC48B-EEE9-564C-BDAB-2F465AEA29E5}"/>
              </a:ext>
            </a:extLst>
          </p:cNvPr>
          <p:cNvSpPr/>
          <p:nvPr/>
        </p:nvSpPr>
        <p:spPr>
          <a:xfrm>
            <a:off x="9856381" y="563526"/>
            <a:ext cx="1910316" cy="536944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5BF2DA-6202-4523-F472-5648C120BC3A}"/>
              </a:ext>
            </a:extLst>
          </p:cNvPr>
          <p:cNvSpPr/>
          <p:nvPr/>
        </p:nvSpPr>
        <p:spPr>
          <a:xfrm>
            <a:off x="3242930" y="691116"/>
            <a:ext cx="5167423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gesta de </a:t>
            </a:r>
            <a:r>
              <a:rPr lang="en-US" dirty="0" err="1"/>
              <a:t>datos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9FDD4-71A7-59FA-6D69-35D1A8A21215}"/>
              </a:ext>
            </a:extLst>
          </p:cNvPr>
          <p:cNvSpPr/>
          <p:nvPr/>
        </p:nvSpPr>
        <p:spPr>
          <a:xfrm>
            <a:off x="3242930" y="1407041"/>
            <a:ext cx="5167423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impieza</a:t>
            </a:r>
            <a:r>
              <a:rPr lang="en-US" dirty="0"/>
              <a:t> de </a:t>
            </a:r>
            <a:r>
              <a:rPr lang="en-US" dirty="0" err="1"/>
              <a:t>dato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B6D62F-BB46-D071-08F8-EFAB7AF4C704}"/>
              </a:ext>
            </a:extLst>
          </p:cNvPr>
          <p:cNvSpPr/>
          <p:nvPr/>
        </p:nvSpPr>
        <p:spPr>
          <a:xfrm>
            <a:off x="3242929" y="2513565"/>
            <a:ext cx="5167423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Exploratorio</a:t>
            </a:r>
            <a:r>
              <a:rPr lang="en-US" dirty="0"/>
              <a:t> de </a:t>
            </a:r>
            <a:r>
              <a:rPr lang="en-US" dirty="0" err="1"/>
              <a:t>dato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B69443-FBC6-AABF-913B-87568B0CF2FE}"/>
              </a:ext>
            </a:extLst>
          </p:cNvPr>
          <p:cNvSpPr txBox="1"/>
          <p:nvPr/>
        </p:nvSpPr>
        <p:spPr>
          <a:xfrm>
            <a:off x="3476844" y="2020186"/>
            <a:ext cx="4699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lantearme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pregunta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</a:t>
            </a:r>
            <a:r>
              <a:rPr lang="en-US" dirty="0" err="1"/>
              <a:t>estos</a:t>
            </a:r>
            <a:r>
              <a:rPr lang="en-US" dirty="0"/>
              <a:t> </a:t>
            </a:r>
            <a:r>
              <a:rPr lang="en-US" dirty="0" err="1"/>
              <a:t>datos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1B8F47E-C35B-21A3-9879-10AF869F0228}"/>
              </a:ext>
            </a:extLst>
          </p:cNvPr>
          <p:cNvSpPr/>
          <p:nvPr/>
        </p:nvSpPr>
        <p:spPr>
          <a:xfrm>
            <a:off x="3365205" y="3468721"/>
            <a:ext cx="1956392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delos</a:t>
            </a:r>
            <a:r>
              <a:rPr lang="en-US" dirty="0"/>
              <a:t> de Machine Lear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143AF5-DAB4-9D1C-9CDE-39E5D166EE67}"/>
              </a:ext>
            </a:extLst>
          </p:cNvPr>
          <p:cNvSpPr txBox="1"/>
          <p:nvPr/>
        </p:nvSpPr>
        <p:spPr>
          <a:xfrm>
            <a:off x="3476843" y="3084846"/>
            <a:ext cx="4699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lantear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solución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033-716D-9804-2103-1A8DA1A54608}"/>
              </a:ext>
            </a:extLst>
          </p:cNvPr>
          <p:cNvSpPr/>
          <p:nvPr/>
        </p:nvSpPr>
        <p:spPr>
          <a:xfrm>
            <a:off x="6044609" y="3670004"/>
            <a:ext cx="1956392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Pronóstico</a:t>
            </a:r>
            <a:r>
              <a:rPr lang="en-US" dirty="0"/>
              <a:t> de series de </a:t>
            </a:r>
            <a:r>
              <a:rPr lang="en-US" dirty="0" err="1"/>
              <a:t>tiempo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A10A8E-F1D9-2757-CDEB-F8F69586EF2E}"/>
              </a:ext>
            </a:extLst>
          </p:cNvPr>
          <p:cNvSpPr/>
          <p:nvPr/>
        </p:nvSpPr>
        <p:spPr>
          <a:xfrm>
            <a:off x="3104706" y="4790775"/>
            <a:ext cx="5167423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onclusión</a:t>
            </a:r>
            <a:r>
              <a:rPr lang="en-US" dirty="0"/>
              <a:t>: contest la </a:t>
            </a:r>
            <a:r>
              <a:rPr lang="en-US" dirty="0" err="1"/>
              <a:t>pregunta</a:t>
            </a:r>
            <a:r>
              <a:rPr lang="en-US" dirty="0"/>
              <a:t> que me </a:t>
            </a:r>
            <a:r>
              <a:rPr lang="en-US" dirty="0" err="1"/>
              <a:t>hice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C26D8A-8FD5-2F14-9898-FEA6ACA5EB5F}"/>
              </a:ext>
            </a:extLst>
          </p:cNvPr>
          <p:cNvSpPr/>
          <p:nvPr/>
        </p:nvSpPr>
        <p:spPr>
          <a:xfrm>
            <a:off x="4685410" y="5796217"/>
            <a:ext cx="2282455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odelo</a:t>
            </a:r>
            <a:r>
              <a:rPr lang="en-US" dirty="0"/>
              <a:t> </a:t>
            </a:r>
            <a:r>
              <a:rPr lang="en-US" dirty="0" err="1"/>
              <a:t>consumible</a:t>
            </a:r>
            <a:r>
              <a:rPr lang="en-US" dirty="0"/>
              <a:t> </a:t>
            </a:r>
            <a:r>
              <a:rPr lang="en-US" dirty="0" err="1"/>
              <a:t>frecuentement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5457F8-28A8-637C-A2D4-87D43FCDBD72}"/>
              </a:ext>
            </a:extLst>
          </p:cNvPr>
          <p:cNvSpPr/>
          <p:nvPr/>
        </p:nvSpPr>
        <p:spPr>
          <a:xfrm>
            <a:off x="3365205" y="4109187"/>
            <a:ext cx="1956392" cy="48909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o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168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</Words>
  <Application>Microsoft Office PowerPoint</Application>
  <PresentationFormat>Widescreen</PresentationFormat>
  <Paragraphs>2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1</cp:revision>
  <dcterms:created xsi:type="dcterms:W3CDTF">2024-07-25T03:40:52Z</dcterms:created>
  <dcterms:modified xsi:type="dcterms:W3CDTF">2024-07-25T03:41:08Z</dcterms:modified>
</cp:coreProperties>
</file>